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5"/>
  </p:notesMasterIdLst>
  <p:sldIdLst>
    <p:sldId id="861" r:id="rId3"/>
    <p:sldId id="862" r:id="rId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5-02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5-02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-02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5-02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5-02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5-02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DE2AAF20-106D-42BC-ADCD-8A842DF9D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491" y="231325"/>
            <a:ext cx="5634681" cy="6050141"/>
          </a:xfrm>
          <a:prstGeom prst="rect">
            <a:avLst/>
          </a:prstGeom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7D084AF9-538C-4F1E-9EB8-6390FAA545DD}"/>
              </a:ext>
            </a:extLst>
          </p:cNvPr>
          <p:cNvSpPr/>
          <p:nvPr/>
        </p:nvSpPr>
        <p:spPr>
          <a:xfrm>
            <a:off x="6249828" y="231325"/>
            <a:ext cx="5634681" cy="6050141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12D5A607-415B-4E40-9192-5FCD0AC4A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160" y="768608"/>
            <a:ext cx="2243791" cy="1499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9A546F7A-D710-4533-A00D-EA5501AE9D22}"/>
              </a:ext>
            </a:extLst>
          </p:cNvPr>
          <p:cNvSpPr txBox="1"/>
          <p:nvPr/>
        </p:nvSpPr>
        <p:spPr>
          <a:xfrm>
            <a:off x="208862" y="183252"/>
            <a:ext cx="4397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>
                <a:solidFill>
                  <a:schemeClr val="bg1"/>
                </a:solidFill>
              </a:rPr>
              <a:t>Technisch kan alles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6C421AF8-A65E-43D8-AEB4-CFC5E8B43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54" y="837073"/>
            <a:ext cx="2137368" cy="13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4ED81542-E3AB-4878-B3A9-FD8880A202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4855" y="4478013"/>
            <a:ext cx="3530870" cy="1775485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DB3237C6-34EF-4715-B19B-02FE6C594E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745" y="2353083"/>
            <a:ext cx="3559668" cy="2182069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5E748223-836B-4A9E-AE34-B058654D86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51869" y="3624619"/>
            <a:ext cx="1695377" cy="841083"/>
          </a:xfrm>
          <a:prstGeom prst="rect">
            <a:avLst/>
          </a:prstGeom>
        </p:spPr>
      </p:pic>
      <p:pic>
        <p:nvPicPr>
          <p:cNvPr id="13" name="Picture 8" descr="http://www.6seconds.org/blog/wp-content/uploads/2008/10/brain_682x400_447748a.jpg">
            <a:extLst>
              <a:ext uri="{FF2B5EF4-FFF2-40B4-BE49-F238E27FC236}">
                <a16:creationId xmlns:a16="http://schemas.microsoft.com/office/drawing/2014/main" id="{60F0FCC4-48A7-48A9-B98D-803F44F10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68064" y="2700491"/>
            <a:ext cx="3822969" cy="2242211"/>
          </a:xfrm>
          <a:prstGeom prst="rect">
            <a:avLst/>
          </a:prstGeom>
          <a:noFill/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12DD45C7-21BF-4AAC-85D6-6F4C5BF976F9}"/>
              </a:ext>
            </a:extLst>
          </p:cNvPr>
          <p:cNvSpPr txBox="1"/>
          <p:nvPr/>
        </p:nvSpPr>
        <p:spPr>
          <a:xfrm>
            <a:off x="8073227" y="3579865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Denkkracht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CFF5EA69-352B-437A-BE7D-8FFDF2B4D7C2}"/>
              </a:ext>
            </a:extLst>
          </p:cNvPr>
          <p:cNvSpPr txBox="1"/>
          <p:nvPr/>
        </p:nvSpPr>
        <p:spPr>
          <a:xfrm>
            <a:off x="7314625" y="773411"/>
            <a:ext cx="3805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bg1"/>
                </a:solidFill>
              </a:rPr>
              <a:t>Lopen aan tegen het denken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7A1D5127-F79F-4B03-98BD-AEEB84D39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54" y="5115015"/>
            <a:ext cx="2050037" cy="969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7134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/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43A32689-BC20-49C2-B1D1-E0FCF18EDC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69574"/>
            <a:ext cx="4336105" cy="6932959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87B0B4B5-76AB-4B79-BC63-6EBC1D6459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31"/>
          <a:stretch/>
        </p:blipFill>
        <p:spPr>
          <a:xfrm>
            <a:off x="7819241" y="3272975"/>
            <a:ext cx="4568210" cy="3585025"/>
          </a:xfrm>
          <a:prstGeom prst="rect">
            <a:avLst/>
          </a:prstGeom>
        </p:spPr>
      </p:pic>
      <p:sp>
        <p:nvSpPr>
          <p:cNvPr id="18" name="Tekstvak 17">
            <a:extLst>
              <a:ext uri="{FF2B5EF4-FFF2-40B4-BE49-F238E27FC236}">
                <a16:creationId xmlns:a16="http://schemas.microsoft.com/office/drawing/2014/main" id="{F3363EE5-0AAB-4804-AA71-1246D8A6340B}"/>
              </a:ext>
            </a:extLst>
          </p:cNvPr>
          <p:cNvSpPr txBox="1"/>
          <p:nvPr/>
        </p:nvSpPr>
        <p:spPr>
          <a:xfrm>
            <a:off x="4423456" y="3261400"/>
            <a:ext cx="3308433" cy="3416320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Windturbines en </a:t>
            </a:r>
            <a:r>
              <a:rPr kumimoji="0" lang="nl-NL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ar</a:t>
            </a:r>
            <a:r>
              <a:rPr kumimoji="0" lang="nl-NL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nels leveren 80% van de energie over hun levensduur van wat het gekost heeft om ze te maken, plaatsen, onder- houden en af te voeren aan het einde van de levensduur.”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B81F5AF6-FA70-4279-B0E5-18F4A1737606}"/>
              </a:ext>
            </a:extLst>
          </p:cNvPr>
          <p:cNvSpPr txBox="1"/>
          <p:nvPr/>
        </p:nvSpPr>
        <p:spPr>
          <a:xfrm>
            <a:off x="5254906" y="1724628"/>
            <a:ext cx="6435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s je niets doet, kom je nergens.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4562356" y="196767"/>
            <a:ext cx="73942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ie kan je niet plannen</a:t>
            </a:r>
          </a:p>
        </p:txBody>
      </p:sp>
    </p:spTree>
    <p:extLst>
      <p:ext uri="{BB962C8B-B14F-4D97-AF65-F5344CB8AC3E}">
        <p14:creationId xmlns:p14="http://schemas.microsoft.com/office/powerpoint/2010/main" val="1402449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</TotalTime>
  <Words>86</Words>
  <Application>Microsoft Macintosh PowerPoint</Application>
  <PresentationFormat>Breedbeeld</PresentationFormat>
  <Paragraphs>8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29</cp:revision>
  <dcterms:created xsi:type="dcterms:W3CDTF">2019-02-24T15:05:00Z</dcterms:created>
  <dcterms:modified xsi:type="dcterms:W3CDTF">2019-02-25T13:04:21Z</dcterms:modified>
</cp:coreProperties>
</file>